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70" r:id="rId2"/>
    <p:sldId id="272" r:id="rId3"/>
    <p:sldId id="273" r:id="rId4"/>
    <p:sldId id="274" r:id="rId5"/>
    <p:sldId id="275" r:id="rId6"/>
    <p:sldId id="277" r:id="rId7"/>
    <p:sldId id="276" r:id="rId8"/>
    <p:sldId id="278" r:id="rId9"/>
    <p:sldId id="279" r:id="rId10"/>
    <p:sldId id="280" r:id="rId11"/>
    <p:sldId id="258" r:id="rId12"/>
  </p:sldIdLst>
  <p:sldSz cx="9144000" cy="6858000" type="screen4x3"/>
  <p:notesSz cx="6985000" cy="9283700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531" autoAdjust="0"/>
  </p:normalViewPr>
  <p:slideViewPr>
    <p:cSldViewPr>
      <p:cViewPr varScale="1">
        <p:scale>
          <a:sx n="75" d="100"/>
          <a:sy n="75" d="100"/>
        </p:scale>
        <p:origin x="870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02-Jul-17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02/07/2017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57407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0082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7629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1627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21554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562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5089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8103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02/07/2017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pyallConditioner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A simple user guide</a:t>
            </a:r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70841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192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0175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374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447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ample.all</a:t>
            </a:r>
            <a:r>
              <a:rPr lang="en-GB" dirty="0" smtClean="0"/>
              <a:t> – original file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391" y="990600"/>
            <a:ext cx="9182781" cy="303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178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8200"/>
            <a:ext cx="9211409" cy="3077627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382197" y="4038600"/>
            <a:ext cx="8366268" cy="2342728"/>
          </a:xfrm>
        </p:spPr>
        <p:txBody>
          <a:bodyPr/>
          <a:lstStyle/>
          <a:p>
            <a:r>
              <a:rPr lang="en-GB" dirty="0" smtClean="0"/>
              <a:t>Notes:</a:t>
            </a:r>
          </a:p>
          <a:p>
            <a:r>
              <a:rPr lang="en-GB" dirty="0" smtClean="0"/>
              <a:t>Heave is intentionally ten times too large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6101" y="1699971"/>
            <a:ext cx="4991797" cy="345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027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40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6602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29</Words>
  <Application>Microsoft Office PowerPoint</Application>
  <PresentationFormat>On-screen Show (4:3)</PresentationFormat>
  <Paragraphs>16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Blank</vt:lpstr>
      <vt:lpstr>think-cell Slide</vt:lpstr>
      <vt:lpstr>pyallConditioner</vt:lpstr>
      <vt:lpstr>PowerPoint Presentation</vt:lpstr>
      <vt:lpstr>PowerPoint Presentation</vt:lpstr>
      <vt:lpstr>PowerPoint Presentation</vt:lpstr>
      <vt:lpstr>PowerPoint Presentation</vt:lpstr>
      <vt:lpstr>Sample.all – original fil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4</cp:revision>
  <cp:lastPrinted>2014-07-03T06:58:13Z</cp:lastPrinted>
  <dcterms:created xsi:type="dcterms:W3CDTF">2017-07-02T11:48:36Z</dcterms:created>
  <dcterms:modified xsi:type="dcterms:W3CDTF">2017-07-02T11:52:27Z</dcterms:modified>
</cp:coreProperties>
</file>